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</p:sldMasterIdLst>
  <p:notesMasterIdLst>
    <p:notesMasterId r:id="rId5"/>
  </p:notesMasterIdLst>
  <p:handoutMasterIdLst>
    <p:handoutMasterId r:id="rId37"/>
  </p:handoutMasterIdLst>
  <p:sldIdLst>
    <p:sldId id="4776" r:id="rId3"/>
    <p:sldId id="4821" r:id="rId4"/>
    <p:sldId id="4813" r:id="rId6"/>
    <p:sldId id="4812" r:id="rId7"/>
    <p:sldId id="4814" r:id="rId8"/>
    <p:sldId id="4815" r:id="rId9"/>
    <p:sldId id="4816" r:id="rId10"/>
    <p:sldId id="4819" r:id="rId11"/>
    <p:sldId id="4820" r:id="rId12"/>
    <p:sldId id="4817" r:id="rId13"/>
    <p:sldId id="4818" r:id="rId14"/>
    <p:sldId id="4822" r:id="rId15"/>
    <p:sldId id="4823" r:id="rId16"/>
    <p:sldId id="4824" r:id="rId17"/>
    <p:sldId id="4825" r:id="rId18"/>
    <p:sldId id="4827" r:id="rId19"/>
    <p:sldId id="4826" r:id="rId20"/>
    <p:sldId id="4828" r:id="rId21"/>
    <p:sldId id="4829" r:id="rId22"/>
    <p:sldId id="4830" r:id="rId23"/>
    <p:sldId id="4834" r:id="rId24"/>
    <p:sldId id="4832" r:id="rId25"/>
    <p:sldId id="4833" r:id="rId26"/>
    <p:sldId id="4835" r:id="rId27"/>
    <p:sldId id="4836" r:id="rId28"/>
    <p:sldId id="4837" r:id="rId29"/>
    <p:sldId id="4838" r:id="rId30"/>
    <p:sldId id="4839" r:id="rId31"/>
    <p:sldId id="4842" r:id="rId32"/>
    <p:sldId id="4840" r:id="rId33"/>
    <p:sldId id="4841" r:id="rId34"/>
    <p:sldId id="4843" r:id="rId35"/>
    <p:sldId id="4844" r:id="rId36"/>
  </p:sldIdLst>
  <p:sldSz cx="9145270" cy="5144770"/>
  <p:notesSz cx="6858000" cy="9144000"/>
  <p:custDataLst>
    <p:tags r:id="rId42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itchFamily="2" charset="-122"/>
        <a:cs typeface="+mn-cs"/>
      </a:defRPr>
    </a:lvl1pPr>
    <a:lvl2pPr marL="455295" indent="-12954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itchFamily="2" charset="-122"/>
        <a:cs typeface="+mn-cs"/>
      </a:defRPr>
    </a:lvl2pPr>
    <a:lvl3pPr marL="912495" indent="-26162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itchFamily="2" charset="-122"/>
        <a:cs typeface="+mn-cs"/>
      </a:defRPr>
    </a:lvl3pPr>
    <a:lvl4pPr marL="1369695" indent="-39433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itchFamily="2" charset="-122"/>
        <a:cs typeface="+mn-cs"/>
      </a:defRPr>
    </a:lvl4pPr>
    <a:lvl5pPr marL="1826895" indent="-52641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itchFamily="2" charset="-122"/>
        <a:cs typeface="+mn-cs"/>
      </a:defRPr>
    </a:lvl5pPr>
    <a:lvl6pPr marL="1625600" algn="l" defTabSz="65024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itchFamily="2" charset="-122"/>
        <a:cs typeface="+mn-cs"/>
      </a:defRPr>
    </a:lvl6pPr>
    <a:lvl7pPr marL="1950720" algn="l" defTabSz="65024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itchFamily="2" charset="-122"/>
        <a:cs typeface="+mn-cs"/>
      </a:defRPr>
    </a:lvl7pPr>
    <a:lvl8pPr marL="2275840" algn="l" defTabSz="65024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itchFamily="2" charset="-122"/>
        <a:cs typeface="+mn-cs"/>
      </a:defRPr>
    </a:lvl8pPr>
    <a:lvl9pPr marL="2601595" algn="l" defTabSz="65024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itchFamily="2" charset="-122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者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29ABE2"/>
    <a:srgbClr val="27B6B9"/>
    <a:srgbClr val="FFFFFF"/>
    <a:srgbClr val="262626"/>
    <a:srgbClr val="F66E4F"/>
    <a:srgbClr val="73DB29"/>
    <a:srgbClr val="FED40D"/>
    <a:srgbClr val="3AD1B5"/>
    <a:srgbClr val="3F3F3F"/>
    <a:srgbClr val="9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125" autoAdjust="0"/>
    <p:restoredTop sz="95274" autoAdjust="0"/>
  </p:normalViewPr>
  <p:slideViewPr>
    <p:cSldViewPr>
      <p:cViewPr varScale="1">
        <p:scale>
          <a:sx n="95" d="100"/>
          <a:sy n="95" d="100"/>
        </p:scale>
        <p:origin x="-846" y="-90"/>
      </p:cViewPr>
      <p:guideLst>
        <p:guide orient="horz" pos="328"/>
        <p:guide orient="horz" pos="4183"/>
        <p:guide orient="horz" pos="233"/>
        <p:guide orient="horz" pos="2976"/>
        <p:guide orient="horz" pos="2981"/>
        <p:guide pos="4050"/>
        <p:guide pos="557"/>
        <p:guide pos="7497"/>
        <p:guide pos="6908"/>
        <p:guide pos="2881"/>
        <p:guide pos="396"/>
        <p:guide pos="5332"/>
        <p:guide pos="4913"/>
        <p:guide pos="567"/>
        <p:guide pos="2880"/>
        <p:guide pos="385"/>
        <p:guide pos="4921"/>
      </p:guideLst>
    </p:cSldViewPr>
  </p:slideViewPr>
  <p:outlineViewPr>
    <p:cViewPr>
      <p:scale>
        <a:sx n="100" d="100"/>
        <a:sy n="100" d="100"/>
      </p:scale>
      <p:origin x="0" y="-10374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7" d="100"/>
          <a:sy n="87" d="100"/>
        </p:scale>
        <p:origin x="384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2" Type="http://schemas.openxmlformats.org/officeDocument/2006/relationships/tags" Target="tags/tag5.xml"/><Relationship Id="rId41" Type="http://schemas.openxmlformats.org/officeDocument/2006/relationships/commentAuthors" Target="commentAuthors.xml"/><Relationship Id="rId40" Type="http://schemas.openxmlformats.org/officeDocument/2006/relationships/tableStyles" Target="tableStyles.xml"/><Relationship Id="rId4" Type="http://schemas.openxmlformats.org/officeDocument/2006/relationships/slide" Target="slides/slide2.xml"/><Relationship Id="rId39" Type="http://schemas.openxmlformats.org/officeDocument/2006/relationships/viewProps" Target="viewProps.xml"/><Relationship Id="rId38" Type="http://schemas.openxmlformats.org/officeDocument/2006/relationships/presProps" Target="presProps.xml"/><Relationship Id="rId37" Type="http://schemas.openxmlformats.org/officeDocument/2006/relationships/handoutMaster" Target="handoutMasters/handoutMaster1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630DBF-D010-4114-9DE3-41E342A27C18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D1D107-4CC9-43CA-8CA8-36E1DF70D5F2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06024D97-E667-405D-B634-E583E2108D71}" type="datetimeFigureOut">
              <a:rPr lang="zh-CN" altLang="en-US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zh-CN" altLang="en-US" noProof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/>
            </a:lvl1pPr>
          </a:lstStyle>
          <a:p>
            <a:fld id="{418F03C3-53C1-4F10-8DAF-D1F318E96C6E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23850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48970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974090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299210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625600" algn="l" defTabSz="65024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950720" algn="l" defTabSz="65024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275840" algn="l" defTabSz="65024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600960" algn="l" defTabSz="65024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7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8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9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2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28901" y="4769032"/>
            <a:ext cx="2057193" cy="273290"/>
          </a:xfrm>
          <a:prstGeom prst="rect">
            <a:avLst/>
          </a:prstGeom>
        </p:spPr>
        <p:txBody>
          <a:bodyPr/>
          <a:lstStyle/>
          <a:p>
            <a:fld id="{32BF82D2-7A68-459D-A996-9BDDA2518FA4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029336" y="4769032"/>
            <a:ext cx="3086918" cy="27329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9496" y="4769032"/>
            <a:ext cx="2057193" cy="273290"/>
          </a:xfrm>
          <a:prstGeom prst="rect">
            <a:avLst/>
          </a:prstGeom>
        </p:spPr>
        <p:txBody>
          <a:bodyPr/>
          <a:lstStyle/>
          <a:p>
            <a:fld id="{3E01EE5D-26FB-46D5-A381-ECFB35BF1D34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32"/>
          <p:cNvSpPr txBox="1"/>
          <p:nvPr userDrawn="1"/>
        </p:nvSpPr>
        <p:spPr>
          <a:xfrm>
            <a:off x="265271" y="257676"/>
            <a:ext cx="1933871" cy="284697"/>
          </a:xfrm>
          <a:prstGeom prst="rect">
            <a:avLst/>
          </a:prstGeom>
          <a:noFill/>
        </p:spPr>
        <p:txBody>
          <a:bodyPr wrap="none" lIns="68584" tIns="34292" rIns="68584" bIns="34292" rtlCol="0">
            <a:spAutoFit/>
          </a:bodyPr>
          <a:lstStyle/>
          <a:p>
            <a:pPr defTabSz="685800"/>
            <a:r>
              <a:rPr lang="zh-CN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点击添加相关标题文字</a:t>
            </a:r>
            <a:endParaRPr lang="zh-CN" altLang="en-US" sz="14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" name="文本框 33"/>
          <p:cNvSpPr txBox="1"/>
          <p:nvPr userDrawn="1"/>
        </p:nvSpPr>
        <p:spPr>
          <a:xfrm>
            <a:off x="265271" y="465917"/>
            <a:ext cx="1512282" cy="223142"/>
          </a:xfrm>
          <a:prstGeom prst="rect">
            <a:avLst/>
          </a:prstGeom>
          <a:noFill/>
        </p:spPr>
        <p:txBody>
          <a:bodyPr wrap="none" lIns="68584" tIns="34292" rIns="68584" bIns="34292" rtlCol="0">
            <a:spAutoFit/>
          </a:bodyPr>
          <a:lstStyle/>
          <a:p>
            <a:pPr defTabSz="685800"/>
            <a:r>
              <a:rPr lang="en-US" altLang="zh-CN" sz="1000" dirty="0" err="1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rPr>
              <a:t>ADDRELATEDTITLEWORDS</a:t>
            </a:r>
            <a:endParaRPr lang="zh-CN" altLang="en-US" sz="1000" dirty="0">
              <a:solidFill>
                <a:schemeClr val="tx1">
                  <a:lumMod val="50000"/>
                  <a:lumOff val="50000"/>
                </a:schemeClr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28901" y="4769032"/>
            <a:ext cx="2057193" cy="273290"/>
          </a:xfrm>
          <a:prstGeom prst="rect">
            <a:avLst/>
          </a:prstGeom>
        </p:spPr>
        <p:txBody>
          <a:bodyPr/>
          <a:lstStyle/>
          <a:p>
            <a:fld id="{32BF82D2-7A68-459D-A996-9BDDA2518FA4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029336" y="4769032"/>
            <a:ext cx="3086918" cy="27329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9496" y="4769032"/>
            <a:ext cx="2057193" cy="273290"/>
          </a:xfrm>
          <a:prstGeom prst="rect">
            <a:avLst/>
          </a:prstGeom>
        </p:spPr>
        <p:txBody>
          <a:bodyPr/>
          <a:lstStyle/>
          <a:p>
            <a:fld id="{3E01EE5D-26FB-46D5-A381-ECFB35BF1D3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xStyles>
    <p:titleStyle>
      <a:lvl1pPr algn="l" defTabSz="650240" rtl="0" eaLnBrk="1" latinLnBrk="0" hangingPunct="1">
        <a:lnSpc>
          <a:spcPct val="90000"/>
        </a:lnSpc>
        <a:spcBef>
          <a:spcPct val="0"/>
        </a:spcBef>
        <a:buNone/>
        <a:defRPr sz="31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2560" indent="-162560" algn="l" defTabSz="650240" rtl="0" eaLnBrk="1" latinLnBrk="0" hangingPunct="1">
        <a:lnSpc>
          <a:spcPct val="90000"/>
        </a:lnSpc>
        <a:spcBef>
          <a:spcPts val="71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87680" indent="-162560" algn="l" defTabSz="650240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12800" indent="-162560" algn="l" defTabSz="650240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37920" indent="-162560" algn="l" defTabSz="650240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162560" algn="l" defTabSz="650240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160" indent="-162560" algn="l" defTabSz="650240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113280" indent="-162560" algn="l" defTabSz="650240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438400" indent="-162560" algn="l" defTabSz="650240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64155" indent="-162560" algn="l" defTabSz="650240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5024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5120" algn="l" defTabSz="65024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50240" algn="l" defTabSz="65024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75360" algn="l" defTabSz="65024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480" algn="l" defTabSz="65024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25600" algn="l" defTabSz="65024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50720" algn="l" defTabSz="65024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75840" algn="l" defTabSz="65024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01595" algn="l" defTabSz="65024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4.xml"/><Relationship Id="rId5" Type="http://schemas.openxmlformats.org/officeDocument/2006/relationships/image" Target="../media/image2.png"/><Relationship Id="rId4" Type="http://schemas.openxmlformats.org/officeDocument/2006/relationships/tags" Target="../tags/tag2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3.xml"/><Relationship Id="rId1" Type="http://schemas.openxmlformats.org/officeDocument/2006/relationships/hyperlink" Target="https://github.com/campsych/concerto-platform/wiki/Flat-Item-Table" TargetMode="External"/></Relationships>
</file>

<file path=ppt/slides/_rels/slide1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5.xml"/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15.png"/><Relationship Id="rId1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7.xml"/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18.png"/><Relationship Id="rId1" Type="http://schemas.openxmlformats.org/officeDocument/2006/relationships/image" Target="../media/image1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2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2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23.png"/></Relationships>
</file>

<file path=ppt/slides/_rels/slide2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3.xml"/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25.png"/><Relationship Id="rId1" Type="http://schemas.openxmlformats.org/officeDocument/2006/relationships/image" Target="../media/image24.png"/></Relationships>
</file>

<file path=ppt/slides/_rels/slide2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4.xml"/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27.png"/><Relationship Id="rId1" Type="http://schemas.openxmlformats.org/officeDocument/2006/relationships/image" Target="../media/image26.png"/></Relationships>
</file>

<file path=ppt/slides/_rels/slide2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5.xml"/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29.png"/><Relationship Id="rId1" Type="http://schemas.openxmlformats.org/officeDocument/2006/relationships/image" Target="../media/image28.png"/></Relationships>
</file>

<file path=ppt/slides/_rels/slide27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6.xml"/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31.png"/><Relationship Id="rId1" Type="http://schemas.openxmlformats.org/officeDocument/2006/relationships/image" Target="../media/image3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32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.xml"/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3.png"/><Relationship Id="rId1" Type="http://schemas.openxmlformats.org/officeDocument/2006/relationships/hyperlink" Target="https://concertoplatform.com/aws" TargetMode="External"/></Relationships>
</file>

<file path=ppt/slides/_rels/slide30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29.xml"/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image" Target="../media/image33.png"/></Relationships>
</file>

<file path=ppt/slides/_rels/slide3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0.xml"/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37.png"/><Relationship Id="rId1" Type="http://schemas.openxmlformats.org/officeDocument/2006/relationships/image" Target="../media/image36.png"/></Relationships>
</file>

<file path=ppt/slides/_rels/slide3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31.xml"/><Relationship Id="rId6" Type="http://schemas.openxmlformats.org/officeDocument/2006/relationships/slideLayout" Target="../slideLayouts/slideLayout3.xml"/><Relationship Id="rId5" Type="http://schemas.openxmlformats.org/officeDocument/2006/relationships/hyperlink" Target="https://github.com/campsych/concerto-platform/wiki/CAT-Tutorial" TargetMode="External"/><Relationship Id="rId4" Type="http://schemas.openxmlformats.org/officeDocument/2006/relationships/hyperlink" Target="https://github.com/campsych/concerto-platform/wiki/Big-5-Personality-Test-(20-item)-Tutorial" TargetMode="External"/><Relationship Id="rId3" Type="http://schemas.openxmlformats.org/officeDocument/2006/relationships/hyperlink" Target="https://github.com/campsych/concerto-platform/wiki/deployment-guide" TargetMode="External"/><Relationship Id="rId2" Type="http://schemas.openxmlformats.org/officeDocument/2006/relationships/hyperlink" Target="https://github.com/campsych/concerto-platform" TargetMode="External"/><Relationship Id="rId1" Type="http://schemas.openxmlformats.org/officeDocument/2006/relationships/hyperlink" Target="https://concertoplatform.com/" TargetMode="External"/></Relationships>
</file>

<file path=ppt/slides/_rels/slide3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4.xml"/><Relationship Id="rId5" Type="http://schemas.openxmlformats.org/officeDocument/2006/relationships/image" Target="../media/image2.png"/><Relationship Id="rId4" Type="http://schemas.openxmlformats.org/officeDocument/2006/relationships/tags" Target="../tags/tag4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4.png"/><Relationship Id="rId2" Type="http://schemas.openxmlformats.org/officeDocument/2006/relationships/hyperlink" Target="mailto:cacolola@gmail.com" TargetMode="External"/><Relationship Id="rId1" Type="http://schemas.openxmlformats.org/officeDocument/2006/relationships/hyperlink" Target="https://aws.amazon.com/cn/console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5.xml"/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6.png"/><Relationship Id="rId1" Type="http://schemas.openxmlformats.org/officeDocument/2006/relationships/hyperlink" Target="http://18.132.198.244/admin" TargetMode="External"/></Relationships>
</file>

<file path=ppt/slides/_rels/slide7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6.xml"/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7.png"/><Relationship Id="rId1" Type="http://schemas.openxmlformats.org/officeDocument/2006/relationships/hyperlink" Target="http://18.132.198.244/login#!/tests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 rot="1400643">
            <a:off x="6580012" y="2267188"/>
            <a:ext cx="6495679" cy="3366922"/>
          </a:xfrm>
          <a:prstGeom prst="rect">
            <a:avLst/>
          </a:prstGeom>
          <a:gradFill flip="none" rotWithShape="1">
            <a:gsLst>
              <a:gs pos="53000">
                <a:schemeClr val="bg1">
                  <a:lumMod val="65000"/>
                  <a:lumOff val="35000"/>
                  <a:alpha val="0"/>
                </a:schemeClr>
              </a:gs>
              <a:gs pos="0">
                <a:schemeClr val="accent1">
                  <a:lumMod val="65000"/>
                  <a:lumOff val="35000"/>
                </a:schemeClr>
              </a:gs>
              <a:gs pos="0">
                <a:schemeClr val="bg1">
                  <a:lumMod val="75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5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264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191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19083" cy="1190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5548792" y="1544572"/>
            <a:ext cx="2641660" cy="2592288"/>
            <a:chOff x="5148858" y="916360"/>
            <a:chExt cx="3403797" cy="3416230"/>
          </a:xfrm>
        </p:grpSpPr>
        <p:sp>
          <p:nvSpPr>
            <p:cNvPr id="11" name="空心弧 10"/>
            <p:cNvSpPr/>
            <p:nvPr/>
          </p:nvSpPr>
          <p:spPr>
            <a:xfrm rot="9058792">
              <a:off x="5162499" y="941975"/>
              <a:ext cx="3390156" cy="3390615"/>
            </a:xfrm>
            <a:prstGeom prst="blockArc">
              <a:avLst>
                <a:gd name="adj1" fmla="val 12553498"/>
                <a:gd name="adj2" fmla="val 21168193"/>
                <a:gd name="adj3" fmla="val 5334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9" tIns="34295" rIns="68589" bIns="34295"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9" name="空心弧 8"/>
            <p:cNvSpPr/>
            <p:nvPr/>
          </p:nvSpPr>
          <p:spPr>
            <a:xfrm>
              <a:off x="5148858" y="916360"/>
              <a:ext cx="3390156" cy="3390615"/>
            </a:xfrm>
            <a:prstGeom prst="blockArc">
              <a:avLst>
                <a:gd name="adj1" fmla="val 9123074"/>
                <a:gd name="adj2" fmla="val 21168193"/>
                <a:gd name="adj3" fmla="val 5334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9" tIns="34295" rIns="68589" bIns="34295"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10" name="矩形 9"/>
          <p:cNvSpPr/>
          <p:nvPr/>
        </p:nvSpPr>
        <p:spPr>
          <a:xfrm>
            <a:off x="14071" y="3133665"/>
            <a:ext cx="5494827" cy="18963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 rot="10800000">
            <a:off x="8359742" y="2587466"/>
            <a:ext cx="854440" cy="175619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lang="zh-CN" altLang="en-US"/>
          </a:p>
        </p:txBody>
      </p:sp>
      <p:grpSp>
        <p:nvGrpSpPr>
          <p:cNvPr id="19" name="组合 18"/>
          <p:cNvGrpSpPr/>
          <p:nvPr/>
        </p:nvGrpSpPr>
        <p:grpSpPr>
          <a:xfrm>
            <a:off x="396330" y="881681"/>
            <a:ext cx="3125654" cy="1187432"/>
            <a:chOff x="207945" y="618123"/>
            <a:chExt cx="4100240" cy="1557678"/>
          </a:xfrm>
        </p:grpSpPr>
        <p:sp>
          <p:nvSpPr>
            <p:cNvPr id="14" name="矩形 13"/>
            <p:cNvSpPr/>
            <p:nvPr/>
          </p:nvSpPr>
          <p:spPr>
            <a:xfrm rot="1400643">
              <a:off x="830750" y="1306965"/>
              <a:ext cx="1981232" cy="868836"/>
            </a:xfrm>
            <a:prstGeom prst="rect">
              <a:avLst/>
            </a:prstGeom>
            <a:gradFill flip="none" rotWithShape="1">
              <a:gsLst>
                <a:gs pos="54000">
                  <a:schemeClr val="bg1">
                    <a:lumMod val="65000"/>
                    <a:lumOff val="35000"/>
                    <a:alpha val="0"/>
                  </a:schemeClr>
                </a:gs>
                <a:gs pos="0">
                  <a:schemeClr val="accent1">
                    <a:alpha val="54000"/>
                    <a:lumMod val="65000"/>
                    <a:lumOff val="35000"/>
                  </a:schemeClr>
                </a:gs>
                <a:gs pos="0">
                  <a:schemeClr val="bg1">
                    <a:lumMod val="75000"/>
                  </a:schemeClr>
                </a:gs>
              </a:gsLst>
              <a:lin ang="24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5" name="矩形 14"/>
            <p:cNvSpPr/>
            <p:nvPr/>
          </p:nvSpPr>
          <p:spPr>
            <a:xfrm rot="1400643">
              <a:off x="1368182" y="1264336"/>
              <a:ext cx="1981232" cy="868836"/>
            </a:xfrm>
            <a:prstGeom prst="rect">
              <a:avLst/>
            </a:prstGeom>
            <a:gradFill flip="none" rotWithShape="1">
              <a:gsLst>
                <a:gs pos="54000">
                  <a:schemeClr val="bg1">
                    <a:lumMod val="65000"/>
                    <a:lumOff val="35000"/>
                    <a:alpha val="0"/>
                  </a:schemeClr>
                </a:gs>
                <a:gs pos="0">
                  <a:schemeClr val="accent1">
                    <a:alpha val="54000"/>
                    <a:lumMod val="65000"/>
                    <a:lumOff val="35000"/>
                  </a:schemeClr>
                </a:gs>
                <a:gs pos="0">
                  <a:schemeClr val="bg1">
                    <a:lumMod val="75000"/>
                  </a:schemeClr>
                </a:gs>
              </a:gsLst>
              <a:lin ang="24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6" name="矩形 15"/>
            <p:cNvSpPr/>
            <p:nvPr/>
          </p:nvSpPr>
          <p:spPr>
            <a:xfrm rot="1400643">
              <a:off x="1902966" y="1130868"/>
              <a:ext cx="1240470" cy="543987"/>
            </a:xfrm>
            <a:prstGeom prst="rect">
              <a:avLst/>
            </a:prstGeom>
            <a:gradFill flip="none" rotWithShape="1">
              <a:gsLst>
                <a:gs pos="54000">
                  <a:schemeClr val="bg1">
                    <a:lumMod val="65000"/>
                    <a:lumOff val="35000"/>
                    <a:alpha val="0"/>
                  </a:schemeClr>
                </a:gs>
                <a:gs pos="0">
                  <a:schemeClr val="accent1">
                    <a:alpha val="54000"/>
                    <a:lumMod val="65000"/>
                    <a:lumOff val="35000"/>
                  </a:schemeClr>
                </a:gs>
                <a:gs pos="0">
                  <a:schemeClr val="bg1">
                    <a:lumMod val="75000"/>
                  </a:schemeClr>
                </a:gs>
              </a:gsLst>
              <a:lin ang="24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7" name="矩形 16"/>
            <p:cNvSpPr/>
            <p:nvPr/>
          </p:nvSpPr>
          <p:spPr>
            <a:xfrm rot="1400643">
              <a:off x="2326953" y="1285652"/>
              <a:ext cx="1981232" cy="868836"/>
            </a:xfrm>
            <a:prstGeom prst="rect">
              <a:avLst/>
            </a:prstGeom>
            <a:gradFill flip="none" rotWithShape="1">
              <a:gsLst>
                <a:gs pos="54000">
                  <a:schemeClr val="bg1">
                    <a:lumMod val="65000"/>
                    <a:lumOff val="35000"/>
                    <a:alpha val="0"/>
                  </a:schemeClr>
                </a:gs>
                <a:gs pos="0">
                  <a:schemeClr val="accent1">
                    <a:alpha val="54000"/>
                    <a:lumMod val="65000"/>
                    <a:lumOff val="35000"/>
                  </a:schemeClr>
                </a:gs>
                <a:gs pos="0">
                  <a:schemeClr val="bg1">
                    <a:lumMod val="75000"/>
                  </a:schemeClr>
                </a:gs>
              </a:gsLst>
              <a:lin ang="24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8" name="矩形 259"/>
            <p:cNvSpPr>
              <a:spLocks noChangeArrowheads="1"/>
            </p:cNvSpPr>
            <p:nvPr/>
          </p:nvSpPr>
          <p:spPr bwMode="auto">
            <a:xfrm>
              <a:off x="207945" y="618123"/>
              <a:ext cx="2913039" cy="14534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pitchFamily="34" charset="0"/>
                </a:defRPr>
              </a:lvl9pPr>
            </a:lstStyle>
            <a:p>
              <a:pPr algn="ctr">
                <a:buNone/>
              </a:pPr>
              <a:r>
                <a:rPr lang="en-US" altLang="zh-CN" sz="7200" cap="all" dirty="0">
                  <a:solidFill>
                    <a:schemeClr val="accent2">
                      <a:lumMod val="75000"/>
                    </a:schemeClr>
                  </a:solidFill>
                  <a:latin typeface="Impact" panose="020B0806030902050204" pitchFamily="34" charset="0"/>
                  <a:cs typeface="Arial" panose="020B0604020202020204" pitchFamily="34" charset="0"/>
                </a:rPr>
                <a:t>20</a:t>
              </a:r>
              <a:r>
                <a:rPr lang="en-US" altLang="zh-CN" sz="7200" cap="all" dirty="0">
                  <a:solidFill>
                    <a:schemeClr val="accent1"/>
                  </a:solidFill>
                  <a:latin typeface="Impact" panose="020B0806030902050204" pitchFamily="34" charset="0"/>
                  <a:cs typeface="Arial" panose="020B0604020202020204" pitchFamily="34" charset="0"/>
                </a:rPr>
                <a:t>22</a:t>
              </a:r>
              <a:endParaRPr lang="zh-CN" altLang="en-US" sz="7200" cap="all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0" name="矩形 259"/>
          <p:cNvSpPr>
            <a:spLocks noChangeArrowheads="1"/>
          </p:cNvSpPr>
          <p:nvPr/>
        </p:nvSpPr>
        <p:spPr bwMode="auto">
          <a:xfrm>
            <a:off x="26481" y="2573724"/>
            <a:ext cx="556712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 algn="ctr">
              <a:buNone/>
            </a:pPr>
            <a:r>
              <a:rPr lang="en-US" altLang="zh-CN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  <a:cs typeface="Arial" panose="020B0604020202020204" pitchFamily="34" charset="0"/>
              </a:rPr>
              <a:t>concerto-platform</a:t>
            </a:r>
            <a:endParaRPr lang="en-US" altLang="zh-CN" b="1" dirty="0">
              <a:solidFill>
                <a:schemeClr val="tx1">
                  <a:lumMod val="65000"/>
                  <a:lumOff val="35000"/>
                </a:schemeClr>
              </a:solidFill>
              <a:latin typeface="+mj-ea"/>
              <a:ea typeface="+mj-ea"/>
              <a:cs typeface="Arial" panose="020B0604020202020204" pitchFamily="34" charset="0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4616" y="2020722"/>
            <a:ext cx="1659423" cy="165942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6804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建立题库</a:t>
            </a:r>
            <a:endParaRPr lang="en-US" altLang="zh-CN" sz="20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依次点击：“</a:t>
            </a: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表格</a:t>
            </a:r>
            <a:r>
              <a:rPr lang="zh-CN" altLang="en-US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en-US" altLang="zh-CN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en-US" altLang="zh-CN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tarter content</a:t>
            </a:r>
            <a:r>
              <a:rPr lang="zh-CN" altLang="en-US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en-US" altLang="zh-CN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en-US" altLang="zh-CN" sz="1600" b="1" dirty="0" err="1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ssessmentFlatItems</a:t>
            </a:r>
            <a:r>
              <a:rPr lang="zh-CN" altLang="en-US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右侧的“编辑”</a:t>
            </a:r>
            <a:endParaRPr lang="en-US" altLang="zh-CN" sz="16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322" y="1304856"/>
            <a:ext cx="8616036" cy="3840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680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点击“复制”，并在弹出对话框重命名表格（首字母需大写），得到空白题库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170" y="988368"/>
            <a:ext cx="8323475" cy="38773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680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在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User made 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找到新建的空白题库（</a:t>
            </a:r>
            <a:r>
              <a:rPr lang="en-US" altLang="zh-CN" sz="16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athtest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），点击“编辑”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685" y="916360"/>
            <a:ext cx="8791238" cy="3888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680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下载</a:t>
            </a:r>
            <a:r>
              <a:rPr lang="en-US" altLang="zh-CN" sz="16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sv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格式的空白题库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314" y="916360"/>
            <a:ext cx="8615948" cy="3816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680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打开</a:t>
            </a:r>
            <a:r>
              <a:rPr lang="en-US" altLang="zh-CN" sz="16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sv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文件如下，在表格内填写每个题目的参数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334" y="1351601"/>
            <a:ext cx="9164922" cy="2457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68040" cy="4799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题库设置的一些参数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d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独一无二项目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d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4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fixedIndex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用于固定项目顺序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trait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项目所属的特征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question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问题（题干）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1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区分度参数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2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难度参数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3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猜测参数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4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疏忽参数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4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esponseLabelN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选择题的选项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N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按钮上所显示的值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4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esponseValueN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选择题的选项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N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输入数据库的值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4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esponseScoreN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选择题选项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N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得分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4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esponseTraitN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选择题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选项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N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所属的特征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ype : 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“options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是选择题，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pen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为开放题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4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kippable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是否可以跳过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nstructions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题目的指示语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删除不需要的参数，也可添加其他参数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参见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hlinkClick r:id="rId1"/>
              </a:rPr>
              <a:t>https://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  <a:hlinkClick r:id="rId1"/>
              </a:rPr>
              <a:t>github.com/campsych/concerto-platform/wiki/Flat-Item-Table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680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项目设置好之后，点击“上传</a:t>
            </a:r>
            <a:r>
              <a:rPr lang="en-US" altLang="zh-CN" sz="16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sv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文件”（</a:t>
            </a:r>
            <a:r>
              <a:rPr lang="en-US" altLang="zh-CN" sz="16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sv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文件需为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UTF-8 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编码）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590" y="2433445"/>
            <a:ext cx="7092777" cy="2686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284" y="731990"/>
            <a:ext cx="8064896" cy="19326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6804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建立作答数据库</a:t>
            </a:r>
            <a:endParaRPr lang="en-US" altLang="zh-CN" sz="20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与前面类似，将“</a:t>
            </a:r>
            <a:r>
              <a:rPr lang="en-US" altLang="zh-CN" sz="14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ssessmentResponses</a:t>
            </a: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”复制一份并重命名为“</a:t>
            </a:r>
            <a:r>
              <a:rPr lang="en-US" altLang="zh-CN" sz="14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athresponse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作为作答数据库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29" y="1316027"/>
            <a:ext cx="8350279" cy="3785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680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创建测验</a:t>
            </a:r>
            <a:endParaRPr lang="en-US" altLang="zh-CN" sz="20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点击“测验”下的“添加”创建新测验，并为测验命名（加减法测验）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595" y="1204392"/>
            <a:ext cx="8943710" cy="2070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5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4195" y="3441764"/>
            <a:ext cx="6683102" cy="1703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6804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4.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评分节点设置</a:t>
            </a:r>
            <a:endParaRPr lang="en-US" altLang="zh-CN" sz="20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编辑测验，在“测验流程”下方空白处单击右键，选择“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ssessment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”，创建评分节点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170" y="1420416"/>
            <a:ext cx="7761040" cy="35455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3489329" y="2153133"/>
            <a:ext cx="404469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000" b="1" spc="3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部署及登录</a:t>
            </a:r>
            <a:endParaRPr lang="zh-CN" altLang="en-US" sz="4000" b="1" spc="3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1404442" y="1852083"/>
            <a:ext cx="3991621" cy="2016605"/>
            <a:chOff x="1548458" y="1735524"/>
            <a:chExt cx="3991621" cy="2016605"/>
          </a:xfrm>
        </p:grpSpPr>
        <p:sp>
          <p:nvSpPr>
            <p:cNvPr id="6" name="矩形 5"/>
            <p:cNvSpPr/>
            <p:nvPr/>
          </p:nvSpPr>
          <p:spPr>
            <a:xfrm rot="1400643">
              <a:off x="2134121" y="2428055"/>
              <a:ext cx="3405958" cy="1324074"/>
            </a:xfrm>
            <a:prstGeom prst="rect">
              <a:avLst/>
            </a:prstGeom>
            <a:gradFill flip="none" rotWithShape="1">
              <a:gsLst>
                <a:gs pos="54000">
                  <a:schemeClr val="bg1">
                    <a:lumMod val="65000"/>
                    <a:lumOff val="35000"/>
                    <a:alpha val="0"/>
                  </a:schemeClr>
                </a:gs>
                <a:gs pos="0">
                  <a:schemeClr val="accent1">
                    <a:alpha val="54000"/>
                    <a:lumMod val="65000"/>
                    <a:lumOff val="35000"/>
                  </a:schemeClr>
                </a:gs>
                <a:gs pos="0">
                  <a:schemeClr val="bg1">
                    <a:lumMod val="75000"/>
                  </a:schemeClr>
                </a:gs>
              </a:gsLst>
              <a:lin ang="24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3" name="组合 2"/>
            <p:cNvGrpSpPr/>
            <p:nvPr/>
          </p:nvGrpSpPr>
          <p:grpSpPr>
            <a:xfrm>
              <a:off x="1548458" y="1735524"/>
              <a:ext cx="1309988" cy="1309988"/>
              <a:chOff x="1174574" y="1234009"/>
              <a:chExt cx="2239520" cy="2239520"/>
            </a:xfrm>
          </p:grpSpPr>
          <p:sp>
            <p:nvSpPr>
              <p:cNvPr id="7" name="椭圆 6"/>
              <p:cNvSpPr/>
              <p:nvPr/>
            </p:nvSpPr>
            <p:spPr>
              <a:xfrm>
                <a:off x="1174574" y="1234009"/>
                <a:ext cx="2239520" cy="2239520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" name="文本框 8"/>
              <p:cNvSpPr txBox="1"/>
              <p:nvPr/>
            </p:nvSpPr>
            <p:spPr>
              <a:xfrm>
                <a:off x="1779446" y="1906093"/>
                <a:ext cx="1029773" cy="895349"/>
              </a:xfrm>
              <a:prstGeom prst="rect">
                <a:avLst/>
              </a:prstGeom>
              <a:noFill/>
              <a:ln w="117475">
                <a:noFill/>
              </a:ln>
              <a:effectLst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pPr algn="ctr"/>
                <a:r>
                  <a:rPr lang="en-US" altLang="zh-CN" spc="100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Impact" panose="020B0806030902050204" pitchFamily="34" charset="0"/>
                    <a:cs typeface="Arial" panose="020B0604020202020204" pitchFamily="34" charset="0"/>
                  </a:rPr>
                  <a:t>01</a:t>
                </a:r>
                <a:endParaRPr lang="zh-CN" altLang="en-US" spc="1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680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点击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ssessment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节点，进入项目设置</a:t>
            </a:r>
            <a:endParaRPr lang="zh-CN" altLang="en-US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50014" y="916360"/>
            <a:ext cx="8260720" cy="408873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680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终止规则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78468" y="932568"/>
            <a:ext cx="8038742" cy="420292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680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AT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选项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314" y="750858"/>
            <a:ext cx="8707413" cy="41340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680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响应设置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选择将作答数据存储到之前建立的表格</a:t>
            </a:r>
            <a:r>
              <a:rPr lang="en-US" altLang="zh-CN" sz="1400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Mathtestresponse</a:t>
            </a: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中，并勾选计算</a:t>
            </a:r>
            <a:r>
              <a:rPr lang="en-US" altLang="zh-CN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Theta</a:t>
            </a: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EM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52314" y="1132384"/>
            <a:ext cx="8672259" cy="388843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396330" y="402784"/>
            <a:ext cx="78680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点击“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ssessment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”右下红色“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”，在弹出对话框勾上“</a:t>
            </a:r>
            <a:r>
              <a:rPr lang="en-US" altLang="zh-CN" sz="16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trairScores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6290" y="784166"/>
            <a:ext cx="3877909" cy="252028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3207" y="1708448"/>
            <a:ext cx="5203002" cy="33642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6804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5.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en-US" altLang="zh-CN" sz="20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howPage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”设置</a:t>
            </a:r>
            <a:endParaRPr lang="en-US" altLang="zh-CN" sz="20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测验流程空白处单击右键，选择创建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en-US" altLang="zh-CN" sz="1600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ShowPage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”节点，点击蓝色“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”，增加动态输入“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lus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”和“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inus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”作为加法和减法得分的输入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80306" y="1325640"/>
            <a:ext cx="4608512" cy="2327914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60826" y="2175217"/>
            <a:ext cx="4284762" cy="295549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396330" y="412304"/>
            <a:ext cx="786804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将“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ssessment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”节点的</a:t>
            </a:r>
            <a:r>
              <a:rPr lang="en-US" altLang="zh-CN" sz="16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traitScores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输出与“</a:t>
            </a:r>
            <a:r>
              <a:rPr lang="en-US" altLang="zh-CN" sz="16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howPage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”相连，并分别点击红框中两个绿色按钮，在</a:t>
            </a:r>
            <a:r>
              <a:rPr lang="en-US" altLang="zh-CN" sz="16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traitScores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后分别加上“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$plus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”和“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$minus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”，使</a:t>
            </a:r>
            <a:r>
              <a:rPr lang="en-US" altLang="zh-CN" sz="16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traitScores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两个维度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lus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inus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分别对应</a:t>
            </a:r>
            <a:r>
              <a:rPr lang="en-US" altLang="zh-CN" sz="16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howPage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两个输入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lus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inus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/>
          <a:srcRect t="16882"/>
          <a:stretch>
            <a:fillRect/>
          </a:stretch>
        </p:blipFill>
        <p:spPr>
          <a:xfrm>
            <a:off x="406406" y="1492424"/>
            <a:ext cx="5410980" cy="2127199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2032" y="3505385"/>
            <a:ext cx="6063556" cy="163970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680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设置</a:t>
            </a:r>
            <a:r>
              <a:rPr lang="en-US" altLang="zh-CN" sz="16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howPage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内容：点击“</a:t>
            </a:r>
            <a:r>
              <a:rPr lang="en-US" altLang="zh-CN" sz="16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howPage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”，再点击“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ontent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”下的设置对话框，输入右图所示内容：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1060376"/>
            <a:ext cx="6005807" cy="3456383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28979" y="1243301"/>
            <a:ext cx="2889722" cy="303369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680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最后，将所有节点输入与输出依次相连，点击保存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322" y="750858"/>
            <a:ext cx="8558348" cy="3986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3489329" y="2153133"/>
            <a:ext cx="23903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000" b="1" spc="3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测验</a:t>
            </a:r>
            <a:r>
              <a:rPr lang="zh-CN" altLang="en-US" sz="4000" b="1" spc="3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行</a:t>
            </a:r>
            <a:endParaRPr lang="zh-CN" altLang="en-US" sz="4000" b="1" spc="3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1404442" y="1852083"/>
            <a:ext cx="3991621" cy="2016605"/>
            <a:chOff x="1548458" y="1735524"/>
            <a:chExt cx="3991621" cy="2016605"/>
          </a:xfrm>
        </p:grpSpPr>
        <p:sp>
          <p:nvSpPr>
            <p:cNvPr id="6" name="矩形 5"/>
            <p:cNvSpPr/>
            <p:nvPr/>
          </p:nvSpPr>
          <p:spPr>
            <a:xfrm rot="1400643">
              <a:off x="2134121" y="2428055"/>
              <a:ext cx="3405958" cy="1324074"/>
            </a:xfrm>
            <a:prstGeom prst="rect">
              <a:avLst/>
            </a:prstGeom>
            <a:gradFill flip="none" rotWithShape="1">
              <a:gsLst>
                <a:gs pos="54000">
                  <a:schemeClr val="bg1">
                    <a:lumMod val="65000"/>
                    <a:lumOff val="35000"/>
                    <a:alpha val="0"/>
                  </a:schemeClr>
                </a:gs>
                <a:gs pos="0">
                  <a:schemeClr val="accent1">
                    <a:alpha val="54000"/>
                    <a:lumMod val="65000"/>
                    <a:lumOff val="35000"/>
                  </a:schemeClr>
                </a:gs>
                <a:gs pos="0">
                  <a:schemeClr val="bg1">
                    <a:lumMod val="75000"/>
                  </a:schemeClr>
                </a:gs>
              </a:gsLst>
              <a:lin ang="24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3" name="组合 2"/>
            <p:cNvGrpSpPr/>
            <p:nvPr/>
          </p:nvGrpSpPr>
          <p:grpSpPr>
            <a:xfrm>
              <a:off x="1548458" y="1735524"/>
              <a:ext cx="1309988" cy="1309988"/>
              <a:chOff x="1174574" y="1234009"/>
              <a:chExt cx="2239520" cy="2239520"/>
            </a:xfrm>
          </p:grpSpPr>
          <p:sp>
            <p:nvSpPr>
              <p:cNvPr id="7" name="椭圆 6"/>
              <p:cNvSpPr/>
              <p:nvPr/>
            </p:nvSpPr>
            <p:spPr>
              <a:xfrm>
                <a:off x="1174574" y="1234009"/>
                <a:ext cx="2239520" cy="2239520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" name="文本框 8"/>
              <p:cNvSpPr txBox="1"/>
              <p:nvPr/>
            </p:nvSpPr>
            <p:spPr>
              <a:xfrm>
                <a:off x="1779446" y="1906093"/>
                <a:ext cx="1029773" cy="895349"/>
              </a:xfrm>
              <a:prstGeom prst="rect">
                <a:avLst/>
              </a:prstGeom>
              <a:noFill/>
              <a:ln w="117475">
                <a:noFill/>
              </a:ln>
              <a:effectLst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pPr algn="ctr"/>
                <a:r>
                  <a:rPr lang="en-US" altLang="zh-CN" spc="100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Impact" panose="020B0806030902050204" pitchFamily="34" charset="0"/>
                    <a:cs typeface="Arial" panose="020B0604020202020204" pitchFamily="34" charset="0"/>
                  </a:rPr>
                  <a:t>03</a:t>
                </a:r>
                <a:endParaRPr lang="zh-CN" altLang="en-US" spc="1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73115" y="412304"/>
            <a:ext cx="784887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在</a:t>
            </a:r>
            <a:r>
              <a:rPr lang="en-US" altLang="zh-CN" sz="20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ws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一键部署</a:t>
            </a: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oncerto-platform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lang="en-US" altLang="zh-CN" sz="20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  <a:hlinkClick r:id="rId1"/>
              </a:rPr>
              <a:t>https://</a:t>
            </a: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  <a:hlinkClick r:id="rId1"/>
              </a:rPr>
              <a:t>concertoplatform.com/aws</a:t>
            </a:r>
            <a:endParaRPr lang="en-US" altLang="zh-CN" sz="20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CN" sz="20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612" y="1222782"/>
            <a:ext cx="8302795" cy="33659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680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点击运行测验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564682" y="2316450"/>
            <a:ext cx="5407320" cy="1444958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339" y="844352"/>
            <a:ext cx="5449332" cy="144016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20" y="3761408"/>
            <a:ext cx="7697632" cy="13836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680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测验作答数据</a:t>
            </a:r>
            <a:endParaRPr lang="en-US" altLang="zh-CN" sz="20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作答数据存储在之前建立的表格</a:t>
            </a:r>
            <a:r>
              <a:rPr lang="en-US" altLang="zh-CN" sz="16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athtestresponse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中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80306" y="1060376"/>
            <a:ext cx="8577950" cy="1872207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346" y="3220616"/>
            <a:ext cx="8516680" cy="18002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68040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主页：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hlinkClick r:id="rId1"/>
              </a:rPr>
              <a:t>https://concertoplatform.com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  <a:hlinkClick r:id="rId1"/>
              </a:rPr>
              <a:t>/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相关信息：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hlinkClick r:id="rId2"/>
              </a:rPr>
              <a:t>https://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  <a:hlinkClick r:id="rId2"/>
              </a:rPr>
              <a:t>github.com/campsych/concerto-platform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开发指引：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hlinkClick r:id="rId3"/>
              </a:rPr>
              <a:t>https://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  <a:hlinkClick r:id="rId3"/>
              </a:rPr>
              <a:t>github.com/campsych/concerto-platform/wiki/deployment-guide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大五人格测验范例：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  <a:hlinkClick r:id="rId4"/>
              </a:rPr>
              <a:t>https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hlinkClick r:id="rId4"/>
              </a:rPr>
              <a:t>://github.com/campsych/concerto-platform/wiki/Big-5-Personality-Test-(20-item)-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  <a:hlinkClick r:id="rId4"/>
              </a:rPr>
              <a:t>Tutorial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AT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范例：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hlinkClick r:id="rId5"/>
              </a:rPr>
              <a:t>https://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  <a:hlinkClick r:id="rId5"/>
              </a:rPr>
              <a:t>github.com/campsych/concerto-platform/wiki/CAT-Tutorial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 rot="1400643">
            <a:off x="6580012" y="2267188"/>
            <a:ext cx="6495679" cy="3366922"/>
          </a:xfrm>
          <a:prstGeom prst="rect">
            <a:avLst/>
          </a:prstGeom>
          <a:gradFill flip="none" rotWithShape="1">
            <a:gsLst>
              <a:gs pos="53000">
                <a:schemeClr val="bg1">
                  <a:lumMod val="65000"/>
                  <a:lumOff val="35000"/>
                  <a:alpha val="0"/>
                </a:schemeClr>
              </a:gs>
              <a:gs pos="0">
                <a:schemeClr val="accent1">
                  <a:lumMod val="65000"/>
                  <a:lumOff val="35000"/>
                </a:schemeClr>
              </a:gs>
              <a:gs pos="0">
                <a:schemeClr val="bg1">
                  <a:lumMod val="75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191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19083" cy="1190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5548792" y="1544572"/>
            <a:ext cx="2641660" cy="2592288"/>
            <a:chOff x="5148858" y="916360"/>
            <a:chExt cx="3403797" cy="3416230"/>
          </a:xfrm>
        </p:grpSpPr>
        <p:sp>
          <p:nvSpPr>
            <p:cNvPr id="11" name="空心弧 10"/>
            <p:cNvSpPr/>
            <p:nvPr/>
          </p:nvSpPr>
          <p:spPr>
            <a:xfrm rot="9058792">
              <a:off x="5162499" y="941975"/>
              <a:ext cx="3390156" cy="3390615"/>
            </a:xfrm>
            <a:prstGeom prst="blockArc">
              <a:avLst>
                <a:gd name="adj1" fmla="val 12553498"/>
                <a:gd name="adj2" fmla="val 21168193"/>
                <a:gd name="adj3" fmla="val 5334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9" tIns="34295" rIns="68589" bIns="34295"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9" name="空心弧 8"/>
            <p:cNvSpPr/>
            <p:nvPr/>
          </p:nvSpPr>
          <p:spPr>
            <a:xfrm>
              <a:off x="5148858" y="916360"/>
              <a:ext cx="3390156" cy="3390615"/>
            </a:xfrm>
            <a:prstGeom prst="blockArc">
              <a:avLst>
                <a:gd name="adj1" fmla="val 9123074"/>
                <a:gd name="adj2" fmla="val 21168193"/>
                <a:gd name="adj3" fmla="val 5334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9" tIns="34295" rIns="68589" bIns="34295"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10" name="矩形 9"/>
          <p:cNvSpPr/>
          <p:nvPr/>
        </p:nvSpPr>
        <p:spPr>
          <a:xfrm>
            <a:off x="14071" y="3133665"/>
            <a:ext cx="5494827" cy="18963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 rot="10800000">
            <a:off x="8359742" y="2587466"/>
            <a:ext cx="854440" cy="175619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lang="zh-CN" altLang="en-US"/>
          </a:p>
        </p:txBody>
      </p:sp>
      <p:grpSp>
        <p:nvGrpSpPr>
          <p:cNvPr id="19" name="组合 18"/>
          <p:cNvGrpSpPr/>
          <p:nvPr/>
        </p:nvGrpSpPr>
        <p:grpSpPr>
          <a:xfrm>
            <a:off x="396330" y="881681"/>
            <a:ext cx="3125654" cy="1187432"/>
            <a:chOff x="207945" y="618123"/>
            <a:chExt cx="4100240" cy="1557678"/>
          </a:xfrm>
        </p:grpSpPr>
        <p:sp>
          <p:nvSpPr>
            <p:cNvPr id="14" name="矩形 13"/>
            <p:cNvSpPr/>
            <p:nvPr/>
          </p:nvSpPr>
          <p:spPr>
            <a:xfrm rot="1400643">
              <a:off x="830750" y="1306965"/>
              <a:ext cx="1981232" cy="868836"/>
            </a:xfrm>
            <a:prstGeom prst="rect">
              <a:avLst/>
            </a:prstGeom>
            <a:gradFill flip="none" rotWithShape="1">
              <a:gsLst>
                <a:gs pos="54000">
                  <a:schemeClr val="bg1">
                    <a:lumMod val="65000"/>
                    <a:lumOff val="35000"/>
                    <a:alpha val="0"/>
                  </a:schemeClr>
                </a:gs>
                <a:gs pos="0">
                  <a:schemeClr val="accent1">
                    <a:alpha val="54000"/>
                    <a:lumMod val="65000"/>
                    <a:lumOff val="35000"/>
                  </a:schemeClr>
                </a:gs>
                <a:gs pos="0">
                  <a:schemeClr val="bg1">
                    <a:lumMod val="75000"/>
                  </a:schemeClr>
                </a:gs>
              </a:gsLst>
              <a:lin ang="24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5" name="矩形 14"/>
            <p:cNvSpPr/>
            <p:nvPr/>
          </p:nvSpPr>
          <p:spPr>
            <a:xfrm rot="1400643">
              <a:off x="1368182" y="1264336"/>
              <a:ext cx="1981232" cy="868836"/>
            </a:xfrm>
            <a:prstGeom prst="rect">
              <a:avLst/>
            </a:prstGeom>
            <a:gradFill flip="none" rotWithShape="1">
              <a:gsLst>
                <a:gs pos="54000">
                  <a:schemeClr val="bg1">
                    <a:lumMod val="65000"/>
                    <a:lumOff val="35000"/>
                    <a:alpha val="0"/>
                  </a:schemeClr>
                </a:gs>
                <a:gs pos="0">
                  <a:schemeClr val="accent1">
                    <a:alpha val="54000"/>
                    <a:lumMod val="65000"/>
                    <a:lumOff val="35000"/>
                  </a:schemeClr>
                </a:gs>
                <a:gs pos="0">
                  <a:schemeClr val="bg1">
                    <a:lumMod val="75000"/>
                  </a:schemeClr>
                </a:gs>
              </a:gsLst>
              <a:lin ang="24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6" name="矩形 15"/>
            <p:cNvSpPr/>
            <p:nvPr/>
          </p:nvSpPr>
          <p:spPr>
            <a:xfrm rot="1400643">
              <a:off x="1902966" y="1130868"/>
              <a:ext cx="1240470" cy="543987"/>
            </a:xfrm>
            <a:prstGeom prst="rect">
              <a:avLst/>
            </a:prstGeom>
            <a:gradFill flip="none" rotWithShape="1">
              <a:gsLst>
                <a:gs pos="54000">
                  <a:schemeClr val="bg1">
                    <a:lumMod val="65000"/>
                    <a:lumOff val="35000"/>
                    <a:alpha val="0"/>
                  </a:schemeClr>
                </a:gs>
                <a:gs pos="0">
                  <a:schemeClr val="accent1">
                    <a:alpha val="54000"/>
                    <a:lumMod val="65000"/>
                    <a:lumOff val="35000"/>
                  </a:schemeClr>
                </a:gs>
                <a:gs pos="0">
                  <a:schemeClr val="bg1">
                    <a:lumMod val="75000"/>
                  </a:schemeClr>
                </a:gs>
              </a:gsLst>
              <a:lin ang="24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7" name="矩形 16"/>
            <p:cNvSpPr/>
            <p:nvPr/>
          </p:nvSpPr>
          <p:spPr>
            <a:xfrm rot="1400643">
              <a:off x="2326953" y="1285652"/>
              <a:ext cx="1981232" cy="868836"/>
            </a:xfrm>
            <a:prstGeom prst="rect">
              <a:avLst/>
            </a:prstGeom>
            <a:gradFill flip="none" rotWithShape="1">
              <a:gsLst>
                <a:gs pos="54000">
                  <a:schemeClr val="bg1">
                    <a:lumMod val="65000"/>
                    <a:lumOff val="35000"/>
                    <a:alpha val="0"/>
                  </a:schemeClr>
                </a:gs>
                <a:gs pos="0">
                  <a:schemeClr val="accent1">
                    <a:alpha val="54000"/>
                    <a:lumMod val="65000"/>
                    <a:lumOff val="35000"/>
                  </a:schemeClr>
                </a:gs>
                <a:gs pos="0">
                  <a:schemeClr val="bg1">
                    <a:lumMod val="75000"/>
                  </a:schemeClr>
                </a:gs>
              </a:gsLst>
              <a:lin ang="24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8" name="矩形 259"/>
            <p:cNvSpPr>
              <a:spLocks noChangeArrowheads="1"/>
            </p:cNvSpPr>
            <p:nvPr/>
          </p:nvSpPr>
          <p:spPr bwMode="auto">
            <a:xfrm>
              <a:off x="207945" y="618123"/>
              <a:ext cx="2913039" cy="14534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Calibri" panose="020F0502020204030204" pitchFamily="34" charset="0"/>
                </a:defRPr>
              </a:lvl9pPr>
            </a:lstStyle>
            <a:p>
              <a:pPr algn="ctr">
                <a:buNone/>
              </a:pPr>
              <a:r>
                <a:rPr lang="en-US" altLang="zh-CN" sz="7200" cap="all" dirty="0">
                  <a:solidFill>
                    <a:schemeClr val="accent2">
                      <a:lumMod val="75000"/>
                    </a:schemeClr>
                  </a:solidFill>
                  <a:latin typeface="Impact" panose="020B0806030902050204" pitchFamily="34" charset="0"/>
                  <a:cs typeface="Arial" panose="020B0604020202020204" pitchFamily="34" charset="0"/>
                </a:rPr>
                <a:t>20</a:t>
              </a:r>
              <a:r>
                <a:rPr lang="en-US" altLang="zh-CN" sz="7200" cap="all" dirty="0">
                  <a:solidFill>
                    <a:schemeClr val="accent1"/>
                  </a:solidFill>
                  <a:latin typeface="Impact" panose="020B0806030902050204" pitchFamily="34" charset="0"/>
                  <a:cs typeface="Arial" panose="020B0604020202020204" pitchFamily="34" charset="0"/>
                </a:rPr>
                <a:t>22</a:t>
              </a:r>
              <a:endParaRPr lang="zh-CN" altLang="en-US" sz="7200" cap="all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0" name="矩形 259"/>
          <p:cNvSpPr>
            <a:spLocks noChangeArrowheads="1"/>
          </p:cNvSpPr>
          <p:nvPr/>
        </p:nvSpPr>
        <p:spPr bwMode="auto">
          <a:xfrm>
            <a:off x="26481" y="2573724"/>
            <a:ext cx="556712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 algn="ctr">
              <a:buNone/>
            </a:pPr>
            <a:r>
              <a:rPr lang="en-US" altLang="zh-CN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  <a:cs typeface="Arial" panose="020B0604020202020204" pitchFamily="34" charset="0"/>
              </a:rPr>
              <a:t>Thanks for your time</a:t>
            </a:r>
            <a:r>
              <a:rPr lang="zh-CN" alt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  <a:cs typeface="Arial" panose="020B0604020202020204" pitchFamily="34" charset="0"/>
              </a:rPr>
              <a:t>！</a:t>
            </a:r>
            <a:endParaRPr lang="en-US" altLang="zh-CN" b="1" dirty="0">
              <a:solidFill>
                <a:schemeClr val="tx1">
                  <a:lumMod val="65000"/>
                  <a:lumOff val="35000"/>
                </a:schemeClr>
              </a:solidFill>
              <a:latin typeface="+mj-ea"/>
              <a:ea typeface="+mj-ea"/>
              <a:cs typeface="Arial" panose="020B0604020202020204" pitchFamily="34" charset="0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4616" y="2020722"/>
            <a:ext cx="1659423" cy="165942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73115" y="412304"/>
            <a:ext cx="7848872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登录</a:t>
            </a:r>
            <a:r>
              <a:rPr lang="en-US" altLang="zh-CN" sz="20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ws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控制台：</a:t>
            </a:r>
            <a:endParaRPr lang="en-US" altLang="zh-CN" sz="20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hlinkClick r:id="rId1"/>
              </a:rPr>
              <a:t>https://aws.amazon.com/cn/console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  <a:hlinkClick r:id="rId1"/>
              </a:rPr>
              <a:t>/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账号：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  <a:hlinkClick r:id="rId2"/>
              </a:rPr>
              <a:t>cacolola@gmail.com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密码：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Bnu17179587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点击“</a:t>
            </a:r>
            <a:r>
              <a:rPr lang="en-US" altLang="zh-CN" sz="2000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CloudFormation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”堆栈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362" y="1996480"/>
            <a:ext cx="7090456" cy="2899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4.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点击堆栈名称进入堆栈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314" y="1204392"/>
            <a:ext cx="8590116" cy="3384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5.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点击“输出” 下的</a:t>
            </a: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URL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进入“协奏曲管理面板”</a:t>
            </a:r>
            <a:endParaRPr lang="en-US" altLang="zh-CN" sz="20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b="1" u="sng" dirty="0" smtClean="0">
                <a:latin typeface="+mj-ea"/>
                <a:ea typeface="+mj-ea"/>
                <a:hlinkClick r:id="rId1"/>
              </a:rPr>
              <a:t>http</a:t>
            </a:r>
            <a:r>
              <a:rPr lang="en-US" altLang="zh-CN" sz="2000" b="1" u="sng" dirty="0">
                <a:latin typeface="+mj-ea"/>
                <a:ea typeface="+mj-ea"/>
                <a:hlinkClick r:id="rId1"/>
              </a:rPr>
              <a:t>://18.132.198.244/admin</a:t>
            </a:r>
            <a:endParaRPr lang="en-US" altLang="zh-CN" sz="2000" b="1" dirty="0">
              <a:solidFill>
                <a:srgbClr val="000000"/>
              </a:solidFill>
              <a:latin typeface="+mj-ea"/>
              <a:ea typeface="+mj-ea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982" y="1204392"/>
            <a:ext cx="8883104" cy="3456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9170" y="412304"/>
            <a:ext cx="786804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.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登录“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协奏曲管理面板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” （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Concerto administration </a:t>
            </a: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nel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20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"/>
              </a:rPr>
              <a:t>http://18.132.198.244/login#!/</a:t>
            </a:r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"/>
              </a:rPr>
              <a:t>tests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账号：</a:t>
            </a:r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dmin</a:t>
            </a:r>
            <a:endParaRPr lang="en-US" altLang="zh-CN" sz="2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密码：</a:t>
            </a:r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7179587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6530" y="1780456"/>
            <a:ext cx="4552950" cy="2867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46781" y="412304"/>
            <a:ext cx="78680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7.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进入协奏曲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管理面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板，可将语言改成中文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716" y="916360"/>
            <a:ext cx="8516305" cy="3888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3489329" y="2153133"/>
            <a:ext cx="23903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000" b="1" spc="3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测验设置</a:t>
            </a:r>
            <a:endParaRPr lang="zh-CN" altLang="en-US" sz="4000" b="1" spc="3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1404442" y="1852083"/>
            <a:ext cx="3991621" cy="2016605"/>
            <a:chOff x="1548458" y="1735524"/>
            <a:chExt cx="3991621" cy="2016605"/>
          </a:xfrm>
        </p:grpSpPr>
        <p:sp>
          <p:nvSpPr>
            <p:cNvPr id="6" name="矩形 5"/>
            <p:cNvSpPr/>
            <p:nvPr/>
          </p:nvSpPr>
          <p:spPr>
            <a:xfrm rot="1400643">
              <a:off x="2134121" y="2428055"/>
              <a:ext cx="3405958" cy="1324074"/>
            </a:xfrm>
            <a:prstGeom prst="rect">
              <a:avLst/>
            </a:prstGeom>
            <a:gradFill flip="none" rotWithShape="1">
              <a:gsLst>
                <a:gs pos="54000">
                  <a:schemeClr val="bg1">
                    <a:lumMod val="65000"/>
                    <a:lumOff val="35000"/>
                    <a:alpha val="0"/>
                  </a:schemeClr>
                </a:gs>
                <a:gs pos="0">
                  <a:schemeClr val="accent1">
                    <a:alpha val="54000"/>
                    <a:lumMod val="65000"/>
                    <a:lumOff val="35000"/>
                  </a:schemeClr>
                </a:gs>
                <a:gs pos="0">
                  <a:schemeClr val="bg1">
                    <a:lumMod val="75000"/>
                  </a:schemeClr>
                </a:gs>
              </a:gsLst>
              <a:lin ang="24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3" name="组合 2"/>
            <p:cNvGrpSpPr/>
            <p:nvPr/>
          </p:nvGrpSpPr>
          <p:grpSpPr>
            <a:xfrm>
              <a:off x="1548458" y="1735524"/>
              <a:ext cx="1309988" cy="1309988"/>
              <a:chOff x="1174574" y="1234009"/>
              <a:chExt cx="2239520" cy="2239520"/>
            </a:xfrm>
          </p:grpSpPr>
          <p:sp>
            <p:nvSpPr>
              <p:cNvPr id="7" name="椭圆 6"/>
              <p:cNvSpPr/>
              <p:nvPr/>
            </p:nvSpPr>
            <p:spPr>
              <a:xfrm>
                <a:off x="1174574" y="1234009"/>
                <a:ext cx="2239520" cy="2239520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" name="文本框 8"/>
              <p:cNvSpPr txBox="1"/>
              <p:nvPr/>
            </p:nvSpPr>
            <p:spPr>
              <a:xfrm>
                <a:off x="1779446" y="1906093"/>
                <a:ext cx="1029773" cy="895349"/>
              </a:xfrm>
              <a:prstGeom prst="rect">
                <a:avLst/>
              </a:prstGeom>
              <a:noFill/>
              <a:ln w="117475">
                <a:noFill/>
              </a:ln>
              <a:effectLst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pPr algn="ctr"/>
                <a:r>
                  <a:rPr lang="en-US" altLang="zh-CN" spc="100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Impact" panose="020B0806030902050204" pitchFamily="34" charset="0"/>
                    <a:cs typeface="Arial" panose="020B0604020202020204" pitchFamily="34" charset="0"/>
                  </a:rPr>
                  <a:t>02</a:t>
                </a:r>
                <a:endParaRPr lang="zh-CN" altLang="en-US" spc="1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3000"/>
    </mc:Choice>
    <mc:Fallback>
      <p:transition advTm="3000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A6S0wzOvQ8a50SA42PUNRg"/>
</p:tagLst>
</file>

<file path=ppt/tags/tag5.xml><?xml version="1.0" encoding="utf-8"?>
<p:tagLst xmlns:p="http://schemas.openxmlformats.org/presentationml/2006/main">
  <p:tag name="ISPRING_ULTRA_SCORM_COURSE_ID" val="9E7965BD-BA7C-4284-B303-3DF26FF20985"/>
  <p:tag name="ISPRING_SCORM_RATE_SLIDES" val="1"/>
  <p:tag name="ISPRINGONLINEFOLDERID" val="0"/>
  <p:tag name="ISPRINGONLINEFOLDERPATH" val="Content List"/>
  <p:tag name="ISPRINGCLOUDFOLDERID" val="0"/>
  <p:tag name="ISPRINGCLOUDFOLDERPATH" val="Repository"/>
  <p:tag name="ISPRING_PLAYERS_CUSTOMIZATION" val="UEsDBBQAAgAIAEOUV0cNwDEewAEAANoDAAAPAAAAbm9uZS9wbGF5ZXIueG1spZJPb9QwEMXPW6nfIfK9dpYKUa0cekDKiaJKC4jbyptME1PHDp4Ju/vtmfzZpFuQQOKQaPIy72fPs/X9sXHJT4hog8/EWqYiAV+E0voqE18+5zd34v799ZVunTlBTGyZCR88iKQELKJtiX2PhupMvBAkQ0XCL4+bI9pM1ETtRqnD4SAPtzLESr1J07X69vBxW9TQmBvrkYwvmLvs5VYkbbQhWjpl4l0qrq9WA/ICZ5F7fIXBdf3KKIvQqDYCgieIatz2bN3Q3838NMErOrWAgkdfDbPvTfH8EMrOAfbaSo9tWyDqCYO20rSx6zufYCwyMTbsGkA0FaB0vhJq9Ko/mPWTM1hPHLzA9ty22zuLNYsjfejeLerubBmyVxNHXYJ0M0wwnGLeOZeDoS5CKZIIPzrLVd5jv85HkK7FuJzn7h0+Wy/xULDGVW4KCvH0gR18JFOUco5ejtHLwdTbh+ITF49TnNsFMgezhKBratzbf86j7/6fOEp4Mp0jcV7B+hKOueW/BA2PQsAz9pqk1sl+tTOVd9ftmxdX40Iadzdl8R1FQiZWwNewNGTUos8w9Zqm1fg5JTTHotXv91JPRC5/AVBLAQIAABQAAgAIAEOUV0cNwDEewAEAANoDAAAPAAAAAAAAAAEAAAAAAAAAAABub25lL3BsYXllci54bWxQSwUGAAAAAAEAAQA9AAAA7QEAAAAA"/>
  <p:tag name="ISPRING_OUTPUT_FOLDER" val="C:\Users\Administrator\Desktop"/>
  <p:tag name="ISPRING_SCORM_PASSING_SCORE" val="100.000000"/>
  <p:tag name="ISPRING_SCORM_ENDPOINT" val="&lt;endpoint&gt;&lt;enable&gt;0&lt;/enable&gt;&lt;lrs&gt;http://&lt;/lrs&gt;&lt;auth&gt;0&lt;/auth&gt;&lt;login&gt;&lt;/login&gt;&lt;password&gt;&lt;/password&gt;&lt;key&gt;&lt;/key&gt;&lt;name&gt;&lt;/name&gt;&lt;email&gt;&lt;/email&gt;&lt;/endpoint&gt;&#10;"/>
  <p:tag name="ISPRING_PRESENTATION_TITLE" val="bt247"/>
</p:tagLst>
</file>

<file path=ppt/theme/theme1.xml><?xml version="1.0" encoding="utf-8"?>
<a:theme xmlns:a="http://schemas.openxmlformats.org/drawingml/2006/main" name="自定义设计方案">
  <a:themeElements>
    <a:clrScheme name="自定义 54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05381"/>
      </a:accent1>
      <a:accent2>
        <a:srgbClr val="FFC56C"/>
      </a:accent2>
      <a:accent3>
        <a:srgbClr val="A5A5A5"/>
      </a:accent3>
      <a:accent4>
        <a:srgbClr val="205381"/>
      </a:accent4>
      <a:accent5>
        <a:srgbClr val="FFC000"/>
      </a:accent5>
      <a:accent6>
        <a:srgbClr val="FF5959"/>
      </a:accent6>
      <a:hlink>
        <a:srgbClr val="0563C1"/>
      </a:hlink>
      <a:folHlink>
        <a:srgbClr val="954F72"/>
      </a:folHlink>
    </a:clrScheme>
    <a:fontScheme name="自定义 1">
      <a:majorFont>
        <a:latin typeface="Franklin Gothic Medium"/>
        <a:ea typeface="微软雅黑"/>
        <a:cs typeface=""/>
      </a:majorFont>
      <a:minorFont>
        <a:latin typeface="Microsoft Sans Serif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58</Words>
  <Application>WPS Office WWO_wpscloud_20230210181222-3548e12fe2</Application>
  <PresentationFormat>自定义</PresentationFormat>
  <Paragraphs>133</Paragraphs>
  <Slides>33</Slides>
  <Notes>31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3</vt:i4>
      </vt:variant>
    </vt:vector>
  </HeadingPairs>
  <TitlesOfParts>
    <vt:vector size="47" baseType="lpstr">
      <vt:lpstr>Arial</vt:lpstr>
      <vt:lpstr>宋体</vt:lpstr>
      <vt:lpstr>Wingdings</vt:lpstr>
      <vt:lpstr>Calibri</vt:lpstr>
      <vt:lpstr>汉仪书宋二KW</vt:lpstr>
      <vt:lpstr>微软雅黑</vt:lpstr>
      <vt:lpstr>汉仪旗黑KW 55S</vt:lpstr>
      <vt:lpstr>Impact</vt:lpstr>
      <vt:lpstr>Kingsoft Stress</vt:lpstr>
      <vt:lpstr>Kingsoft Confetti</vt:lpstr>
      <vt:lpstr>Microsoft Sans Serif</vt:lpstr>
      <vt:lpstr>自定义设计方案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简约长投影工作总结汇报述职报告PPT模板</dc:title>
  <dc:creator/>
  <cp:lastModifiedBy/>
  <dcterms:created xsi:type="dcterms:W3CDTF">2023-02-23T09:35:31Z</dcterms:created>
  <dcterms:modified xsi:type="dcterms:W3CDTF">2023-02-23T09:3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/>
  </property>
  <property fmtid="{D5CDD505-2E9C-101B-9397-08002B2CF9AE}" pid="3" name="KSOProductBuildVer">
    <vt:lpwstr>2052-0.0.0.0</vt:lpwstr>
  </property>
</Properties>
</file>